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62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54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56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6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E8C4A-53E4-0649-9DD3-23670053B41D}" type="datetimeFigureOut">
              <a:rPr lang="da-DK" smtClean="0"/>
              <a:t>26-05-2026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A58CD0-03D5-1443-A041-D553CD11EBB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0980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A58CD0-03D5-1443-A041-D553CD11EBB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2411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6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6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endParaRPr lang="en-DK"/>
            </a:p>
          </p:txBody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26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33E91-0104-0C4B-BED0-F980DBE04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endetegn for en levende kirk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6424-2B8F-D240-9679-31E9F1562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1" y="2122990"/>
            <a:ext cx="4791301" cy="3082636"/>
          </a:xfrm>
        </p:spPr>
        <p:txBody>
          <a:bodyPr>
            <a:normAutofit lnSpcReduction="10000"/>
          </a:bodyPr>
          <a:lstStyle/>
          <a:p>
            <a:r>
              <a:rPr lang="da-DK" dirty="0"/>
              <a:t>Pinsedagen sender Jesus Helligånden og den første kirke er født. Vi kan i teksten finde fire kendetegn for den levende kirke: </a:t>
            </a:r>
          </a:p>
          <a:p>
            <a:r>
              <a:rPr lang="da-DK" b="1" dirty="0"/>
              <a:t>1. Læring: </a:t>
            </a:r>
            <a:r>
              <a:rPr lang="da-DK" dirty="0"/>
              <a:t>De første kristne var dedikerede til at lære og studere Guds ord.</a:t>
            </a:r>
          </a:p>
          <a:p>
            <a:r>
              <a:rPr lang="da-DK" b="1" dirty="0"/>
              <a:t>2. Liv: </a:t>
            </a:r>
            <a:r>
              <a:rPr lang="da-DK" dirty="0"/>
              <a:t>De første kristne var på trods af forskellighed, forenet i og dedikeret til fællesskab. De var generøse både med deres tid og med deres penge. </a:t>
            </a:r>
          </a:p>
          <a:p>
            <a:r>
              <a:rPr lang="da-DK" b="1" dirty="0"/>
              <a:t>3. Liturgi: </a:t>
            </a:r>
            <a:r>
              <a:rPr lang="da-DK" dirty="0"/>
              <a:t>De første kristne prioriterede gudstjeneste i templet, men det mødtes også i små grupper, hvor de delte nadver, bad for hinanden og delte liv. </a:t>
            </a:r>
          </a:p>
          <a:p>
            <a:r>
              <a:rPr lang="da-DK" b="1" dirty="0"/>
              <a:t>4. Levende vidnesbyrd: </a:t>
            </a:r>
            <a:r>
              <a:rPr lang="da-DK" dirty="0"/>
              <a:t>De havde et tiltrækkende liv og et attraktivt fællesskab og GUD tilføjede mennesker. Det er HAM, der arbejder i menneskers liv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5EA0A-5AF9-D84A-A5A3-374EABD6F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5703" y="966681"/>
            <a:ext cx="4791301" cy="231737"/>
          </a:xfrm>
        </p:spPr>
        <p:txBody>
          <a:bodyPr/>
          <a:lstStyle/>
          <a:p>
            <a:r>
              <a:rPr lang="da-DK" sz="1400" dirty="0"/>
              <a:t>Apostlenes Gerninger 2, 42-47</a:t>
            </a:r>
          </a:p>
          <a:p>
            <a:r>
              <a:rPr lang="da-DK" sz="1400" dirty="0"/>
              <a:t>Ekstra henvisninger: 1. Johannesbrev 1,3 (om fællesskab) 2. Kor. 9,7 (om at give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C122C0-304F-D94D-85D1-E662264F5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203219"/>
            <a:ext cx="4791301" cy="1187612"/>
          </a:xfrm>
        </p:spPr>
        <p:txBody>
          <a:bodyPr/>
          <a:lstStyle/>
          <a:p>
            <a:r>
              <a:rPr lang="da-DK" sz="1050" dirty="0"/>
              <a:t>Drivkraften for den første kirke var ÆREFRYGT for Gud (v. 43) og TILBEDELSE (v. 47). </a:t>
            </a:r>
          </a:p>
          <a:p>
            <a:r>
              <a:rPr lang="da-DK" sz="1050" dirty="0"/>
              <a:t>Vi er som kirke en gruppe af fejlbarlige mennesker, som har brug for tilgivelse af Jesus og af hinanden. Men vi er Jesu brud og vi kan stadig i dag opleve Helligåndens kraft i vores personlige liv og i kirken. Og Gud kan og vil gøre store ting gennem os.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035901-E598-2C48-9830-6C87FF254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0"/>
            <a:ext cx="4768651" cy="1864809"/>
          </a:xfrm>
        </p:spPr>
        <p:txBody>
          <a:bodyPr/>
          <a:lstStyle/>
          <a:p>
            <a:r>
              <a:rPr lang="da-DK" dirty="0"/>
              <a:t>Hvilket af de fire kendetegn har talt mest til dig? Hvad synes du er mest udfordrende? </a:t>
            </a:r>
          </a:p>
          <a:p>
            <a:r>
              <a:rPr lang="da-DK" dirty="0"/>
              <a:t>Tal om udfordringen ved at være generøse med vores tid og penge. </a:t>
            </a:r>
          </a:p>
          <a:p>
            <a:r>
              <a:rPr lang="da-DK" dirty="0"/>
              <a:t>Hvad tænker du om citatet: ”Gud meddeler mennesker sit nærvær […] når de i fællesskab tilbeder ham.” Hvordan oplever du Guds nærvær og Helligåndens tale til dig?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2F2860-175F-7549-8660-270CAD1DA1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Lad os fortsat bede for Astrid. </a:t>
            </a:r>
          </a:p>
          <a:p>
            <a:r>
              <a:rPr lang="da-DK" dirty="0"/>
              <a:t>Lad os bede for den 30. maj, hvor kirken er repræsenteret ved et stort arrangement til Rødovres 125 årige jubilæum. </a:t>
            </a:r>
          </a:p>
          <a:p>
            <a:r>
              <a:rPr lang="da-DK" dirty="0"/>
              <a:t>Bed gerne </a:t>
            </a:r>
            <a:r>
              <a:rPr lang="da-DK"/>
              <a:t>for forberedelserne til sommerens lejre.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6335DC-9A39-F64B-B62B-836D36B5F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36825" y="4207753"/>
            <a:ext cx="4791301" cy="835301"/>
          </a:xfrm>
        </p:spPr>
        <p:txBody>
          <a:bodyPr>
            <a:normAutofit/>
          </a:bodyPr>
          <a:lstStyle/>
          <a:p>
            <a:r>
              <a:rPr lang="da-DK" dirty="0"/>
              <a:t>Bed Helligånden om at vise dig, hvordan han vil bruge dig i det puslespil, der hedder ”</a:t>
            </a:r>
            <a:r>
              <a:rPr lang="da-DK" dirty="0" err="1"/>
              <a:t>Højnæskirken</a:t>
            </a:r>
            <a:r>
              <a:rPr lang="da-DK" dirty="0"/>
              <a:t>”. </a:t>
            </a:r>
          </a:p>
        </p:txBody>
      </p:sp>
    </p:spTree>
    <p:extLst>
      <p:ext uri="{BB962C8B-B14F-4D97-AF65-F5344CB8AC3E}">
        <p14:creationId xmlns:p14="http://schemas.microsoft.com/office/powerpoint/2010/main" val="471275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ce7b44-c394-42d1-a5e7-f247d1b5b78c" xsi:nil="true"/>
    <lcf76f155ced4ddcb4097134ff3c332f xmlns="44168d15-525b-443e-9103-846403f98ac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62A6E336102A409DCE6EAAEEBBB5B4" ma:contentTypeVersion="12" ma:contentTypeDescription="Create a new document." ma:contentTypeScope="" ma:versionID="cc2de7ca1619c8be3262bce65819789b">
  <xsd:schema xmlns:xsd="http://www.w3.org/2001/XMLSchema" xmlns:xs="http://www.w3.org/2001/XMLSchema" xmlns:p="http://schemas.microsoft.com/office/2006/metadata/properties" xmlns:ns2="44168d15-525b-443e-9103-846403f98ac9" xmlns:ns3="c7ce7b44-c394-42d1-a5e7-f247d1b5b78c" targetNamespace="http://schemas.microsoft.com/office/2006/metadata/properties" ma:root="true" ma:fieldsID="eb3e64a27cc5e990567291ea33b205b2" ns2:_="" ns3:_="">
    <xsd:import namespace="44168d15-525b-443e-9103-846403f98ac9"/>
    <xsd:import namespace="c7ce7b44-c394-42d1-a5e7-f247d1b5b7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168d15-525b-443e-9103-846403f98a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9731afd-e726-4161-a857-61de5a62a7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ce7b44-c394-42d1-a5e7-f247d1b5b78c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47bff322-4040-4798-a219-743850e60bf2}" ma:internalName="TaxCatchAll" ma:showField="CatchAllData" ma:web="c7ce7b44-c394-42d1-a5e7-f247d1b5b7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  <ds:schemaRef ds:uri="c7ce7b44-c394-42d1-a5e7-f247d1b5b78c"/>
    <ds:schemaRef ds:uri="44168d15-525b-443e-9103-846403f98ac9"/>
  </ds:schemaRefs>
</ds:datastoreItem>
</file>

<file path=customXml/itemProps2.xml><?xml version="1.0" encoding="utf-8"?>
<ds:datastoreItem xmlns:ds="http://schemas.openxmlformats.org/officeDocument/2006/customXml" ds:itemID="{B46001CD-ABF6-484C-93A6-46DF5CBD78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168d15-525b-443e-9103-846403f98ac9"/>
    <ds:schemaRef ds:uri="c7ce7b44-c394-42d1-a5e7-f247d1b5b7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31</TotalTime>
  <Words>361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Calibri</vt:lpstr>
      <vt:lpstr>Century Gothic</vt:lpstr>
      <vt:lpstr>Verdana</vt:lpstr>
      <vt:lpstr>Wingdings 3</vt:lpstr>
      <vt:lpstr>Wisp</vt:lpstr>
      <vt:lpstr>think-cell Slide</vt:lpstr>
      <vt:lpstr>Kendetegn for en levende kirk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Anne-Mette Lerche</cp:lastModifiedBy>
  <cp:revision>87</cp:revision>
  <dcterms:created xsi:type="dcterms:W3CDTF">2019-08-19T18:08:22Z</dcterms:created>
  <dcterms:modified xsi:type="dcterms:W3CDTF">2026-05-26T09:4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62A6E336102A409DCE6EAAEEBBB5B4</vt:lpwstr>
  </property>
</Properties>
</file>